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8.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9"/>
  </p:notesMasterIdLst>
  <p:sldIdLst>
    <p:sldId id="2147470553" r:id="rId5"/>
    <p:sldId id="2147470557" r:id="rId6"/>
    <p:sldId id="2147470558" r:id="rId7"/>
    <p:sldId id="2147470610" r:id="rId8"/>
    <p:sldId id="2147470559" r:id="rId9"/>
    <p:sldId id="2147470565" r:id="rId10"/>
    <p:sldId id="2147470564" r:id="rId11"/>
    <p:sldId id="2147470593" r:id="rId12"/>
    <p:sldId id="2147470573" r:id="rId13"/>
    <p:sldId id="2147470584" r:id="rId14"/>
    <p:sldId id="2147470585" r:id="rId15"/>
    <p:sldId id="2147470586" r:id="rId16"/>
    <p:sldId id="2147470587" r:id="rId17"/>
    <p:sldId id="2147470589" r:id="rId18"/>
    <p:sldId id="2147470588" r:id="rId19"/>
    <p:sldId id="2147470590" r:id="rId20"/>
    <p:sldId id="2147470607" r:id="rId21"/>
    <p:sldId id="2147470592" r:id="rId22"/>
    <p:sldId id="2147470574" r:id="rId23"/>
    <p:sldId id="2147470591" r:id="rId24"/>
    <p:sldId id="2147470575" r:id="rId25"/>
    <p:sldId id="2147470594" r:id="rId26"/>
    <p:sldId id="2147470596" r:id="rId27"/>
    <p:sldId id="2147470597" r:id="rId28"/>
    <p:sldId id="2147470598" r:id="rId29"/>
    <p:sldId id="2147470609" r:id="rId30"/>
    <p:sldId id="2147470595" r:id="rId31"/>
    <p:sldId id="2147470600" r:id="rId32"/>
    <p:sldId id="2147470599" r:id="rId33"/>
    <p:sldId id="2147470601" r:id="rId34"/>
    <p:sldId id="2147470576" r:id="rId35"/>
    <p:sldId id="2147470602" r:id="rId36"/>
    <p:sldId id="2147470579" r:id="rId37"/>
    <p:sldId id="2147470580" r:id="rId38"/>
    <p:sldId id="2147470577" r:id="rId39"/>
    <p:sldId id="2147470578" r:id="rId40"/>
    <p:sldId id="2147470581" r:id="rId41"/>
    <p:sldId id="2147470608" r:id="rId42"/>
    <p:sldId id="2147470603" r:id="rId43"/>
    <p:sldId id="2147470582" r:id="rId44"/>
    <p:sldId id="2147470606" r:id="rId45"/>
    <p:sldId id="2147470605" r:id="rId46"/>
    <p:sldId id="2147470604" r:id="rId47"/>
    <p:sldId id="2147470560"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5053C2-9E53-45DE-86ED-55B02F65B932}" v="38" dt="2023-11-14T15:52:08.2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6" autoAdjust="0"/>
    <p:restoredTop sz="94660"/>
  </p:normalViewPr>
  <p:slideViewPr>
    <p:cSldViewPr snapToGrid="0">
      <p:cViewPr varScale="1">
        <p:scale>
          <a:sx n="72" d="100"/>
          <a:sy n="72" d="100"/>
        </p:scale>
        <p:origin x="54" y="2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3561b13b-c7da-4a5b-9614-8a4db83ccfee" providerId="ADAL" clId="{F95053C2-9E53-45DE-86ED-55B02F65B932}"/>
    <pc:docChg chg="custSel addSld modSld sldOrd">
      <pc:chgData name="Dwayne Natwick" userId="3561b13b-c7da-4a5b-9614-8a4db83ccfee" providerId="ADAL" clId="{F95053C2-9E53-45DE-86ED-55B02F65B932}" dt="2023-11-14T15:55:56.446" v="388" actId="20577"/>
      <pc:docMkLst>
        <pc:docMk/>
      </pc:docMkLst>
      <pc:sldChg chg="modSp mod">
        <pc:chgData name="Dwayne Natwick" userId="3561b13b-c7da-4a5b-9614-8a4db83ccfee" providerId="ADAL" clId="{F95053C2-9E53-45DE-86ED-55B02F65B932}" dt="2023-11-13T15:38:19.212" v="9" actId="20577"/>
        <pc:sldMkLst>
          <pc:docMk/>
          <pc:sldMk cId="19297968" sldId="2147470553"/>
        </pc:sldMkLst>
        <pc:spChg chg="mod">
          <ac:chgData name="Dwayne Natwick" userId="3561b13b-c7da-4a5b-9614-8a4db83ccfee" providerId="ADAL" clId="{F95053C2-9E53-45DE-86ED-55B02F65B932}" dt="2023-11-13T15:38:19.212" v="9" actId="20577"/>
          <ac:spMkLst>
            <pc:docMk/>
            <pc:sldMk cId="19297968" sldId="2147470553"/>
            <ac:spMk id="2" creationId="{A1A8D485-FD33-2DA7-238E-EDF73027901B}"/>
          </ac:spMkLst>
        </pc:spChg>
      </pc:sldChg>
      <pc:sldChg chg="modSp mod">
        <pc:chgData name="Dwayne Natwick" userId="3561b13b-c7da-4a5b-9614-8a4db83ccfee" providerId="ADAL" clId="{F95053C2-9E53-45DE-86ED-55B02F65B932}" dt="2023-11-13T15:49:58.887" v="79" actId="6549"/>
        <pc:sldMkLst>
          <pc:docMk/>
          <pc:sldMk cId="2945821040" sldId="2147470557"/>
        </pc:sldMkLst>
        <pc:spChg chg="mod">
          <ac:chgData name="Dwayne Natwick" userId="3561b13b-c7da-4a5b-9614-8a4db83ccfee" providerId="ADAL" clId="{F95053C2-9E53-45DE-86ED-55B02F65B932}" dt="2023-11-13T15:49:51.227" v="76" actId="6549"/>
          <ac:spMkLst>
            <pc:docMk/>
            <pc:sldMk cId="2945821040" sldId="2147470557"/>
            <ac:spMk id="6" creationId="{34C8A714-55EC-40AC-B65A-1F994DEC5152}"/>
          </ac:spMkLst>
        </pc:spChg>
        <pc:spChg chg="mod">
          <ac:chgData name="Dwayne Natwick" userId="3561b13b-c7da-4a5b-9614-8a4db83ccfee" providerId="ADAL" clId="{F95053C2-9E53-45DE-86ED-55B02F65B932}" dt="2023-11-13T15:49:55.619" v="77" actId="6549"/>
          <ac:spMkLst>
            <pc:docMk/>
            <pc:sldMk cId="2945821040" sldId="2147470557"/>
            <ac:spMk id="28" creationId="{C9EAB225-5AB7-686B-2B0B-5A0DA0699DAA}"/>
          </ac:spMkLst>
        </pc:spChg>
        <pc:spChg chg="mod">
          <ac:chgData name="Dwayne Natwick" userId="3561b13b-c7da-4a5b-9614-8a4db83ccfee" providerId="ADAL" clId="{F95053C2-9E53-45DE-86ED-55B02F65B932}" dt="2023-11-13T15:49:57.455" v="78" actId="6549"/>
          <ac:spMkLst>
            <pc:docMk/>
            <pc:sldMk cId="2945821040" sldId="2147470557"/>
            <ac:spMk id="31" creationId="{396F3C3E-06A6-C7C0-E225-74DAE937B4B6}"/>
          </ac:spMkLst>
        </pc:spChg>
        <pc:spChg chg="mod">
          <ac:chgData name="Dwayne Natwick" userId="3561b13b-c7da-4a5b-9614-8a4db83ccfee" providerId="ADAL" clId="{F95053C2-9E53-45DE-86ED-55B02F65B932}" dt="2023-11-13T15:49:58.887" v="79" actId="6549"/>
          <ac:spMkLst>
            <pc:docMk/>
            <pc:sldMk cId="2945821040" sldId="2147470557"/>
            <ac:spMk id="34" creationId="{A53BEA30-32DF-F647-94E1-F0D90C6E0D13}"/>
          </ac:spMkLst>
        </pc:spChg>
      </pc:sldChg>
      <pc:sldChg chg="delSp modSp mod ord">
        <pc:chgData name="Dwayne Natwick" userId="3561b13b-c7da-4a5b-9614-8a4db83ccfee" providerId="ADAL" clId="{F95053C2-9E53-45DE-86ED-55B02F65B932}" dt="2023-11-14T15:55:56.446" v="388" actId="20577"/>
        <pc:sldMkLst>
          <pc:docMk/>
          <pc:sldMk cId="3682517411" sldId="2147470559"/>
        </pc:sldMkLst>
        <pc:graphicFrameChg chg="mod modGraphic">
          <ac:chgData name="Dwayne Natwick" userId="3561b13b-c7da-4a5b-9614-8a4db83ccfee" providerId="ADAL" clId="{F95053C2-9E53-45DE-86ED-55B02F65B932}" dt="2023-11-14T15:55:56.446" v="388" actId="20577"/>
          <ac:graphicFrameMkLst>
            <pc:docMk/>
            <pc:sldMk cId="3682517411" sldId="2147470559"/>
            <ac:graphicFrameMk id="8" creationId="{CC919F4A-A7D9-8DDD-DB16-BF7FF8DD9E3B}"/>
          </ac:graphicFrameMkLst>
        </pc:graphicFrameChg>
        <pc:graphicFrameChg chg="del modGraphic">
          <ac:chgData name="Dwayne Natwick" userId="3561b13b-c7da-4a5b-9614-8a4db83ccfee" providerId="ADAL" clId="{F95053C2-9E53-45DE-86ED-55B02F65B932}" dt="2023-11-14T15:50:44.053" v="283" actId="478"/>
          <ac:graphicFrameMkLst>
            <pc:docMk/>
            <pc:sldMk cId="3682517411" sldId="2147470559"/>
            <ac:graphicFrameMk id="11" creationId="{A52E73B0-7A2A-ED30-FEF2-D5B76028305D}"/>
          </ac:graphicFrameMkLst>
        </pc:graphicFrameChg>
      </pc:sldChg>
      <pc:sldChg chg="modSp mod">
        <pc:chgData name="Dwayne Natwick" userId="3561b13b-c7da-4a5b-9614-8a4db83ccfee" providerId="ADAL" clId="{F95053C2-9E53-45DE-86ED-55B02F65B932}" dt="2023-11-14T15:44:15.447" v="217" actId="1076"/>
        <pc:sldMkLst>
          <pc:docMk/>
          <pc:sldMk cId="4270848246" sldId="2147470560"/>
        </pc:sldMkLst>
        <pc:spChg chg="mod">
          <ac:chgData name="Dwayne Natwick" userId="3561b13b-c7da-4a5b-9614-8a4db83ccfee" providerId="ADAL" clId="{F95053C2-9E53-45DE-86ED-55B02F65B932}" dt="2023-11-13T15:57:06.739" v="127" actId="6549"/>
          <ac:spMkLst>
            <pc:docMk/>
            <pc:sldMk cId="4270848246" sldId="2147470560"/>
            <ac:spMk id="18" creationId="{7D66421A-6C08-23BB-D770-A2A0FF91DD1C}"/>
          </ac:spMkLst>
        </pc:spChg>
        <pc:spChg chg="mod">
          <ac:chgData name="Dwayne Natwick" userId="3561b13b-c7da-4a5b-9614-8a4db83ccfee" providerId="ADAL" clId="{F95053C2-9E53-45DE-86ED-55B02F65B932}" dt="2023-11-13T15:57:08.329" v="128" actId="6549"/>
          <ac:spMkLst>
            <pc:docMk/>
            <pc:sldMk cId="4270848246" sldId="2147470560"/>
            <ac:spMk id="21" creationId="{87ACA6E9-9681-99AA-65E6-65303BA5F10F}"/>
          </ac:spMkLst>
        </pc:spChg>
        <pc:spChg chg="mod">
          <ac:chgData name="Dwayne Natwick" userId="3561b13b-c7da-4a5b-9614-8a4db83ccfee" providerId="ADAL" clId="{F95053C2-9E53-45DE-86ED-55B02F65B932}" dt="2023-11-13T15:57:10.520" v="129" actId="6549"/>
          <ac:spMkLst>
            <pc:docMk/>
            <pc:sldMk cId="4270848246" sldId="2147470560"/>
            <ac:spMk id="24" creationId="{86B4A3BC-B5A8-2BE0-1133-3BA9CB7EDFAB}"/>
          </ac:spMkLst>
        </pc:spChg>
        <pc:spChg chg="mod">
          <ac:chgData name="Dwayne Natwick" userId="3561b13b-c7da-4a5b-9614-8a4db83ccfee" providerId="ADAL" clId="{F95053C2-9E53-45DE-86ED-55B02F65B932}" dt="2023-11-13T15:57:11.963" v="130" actId="6549"/>
          <ac:spMkLst>
            <pc:docMk/>
            <pc:sldMk cId="4270848246" sldId="2147470560"/>
            <ac:spMk id="27" creationId="{9ADD736A-323E-6575-0C10-C5BD32DE5235}"/>
          </ac:spMkLst>
        </pc:spChg>
        <pc:spChg chg="mod">
          <ac:chgData name="Dwayne Natwick" userId="3561b13b-c7da-4a5b-9614-8a4db83ccfee" providerId="ADAL" clId="{F95053C2-9E53-45DE-86ED-55B02F65B932}" dt="2023-11-13T15:57:14.099" v="131" actId="6549"/>
          <ac:spMkLst>
            <pc:docMk/>
            <pc:sldMk cId="4270848246" sldId="2147470560"/>
            <ac:spMk id="30" creationId="{3DB7542E-ADDB-131A-48BF-8DE17592FCF3}"/>
          </ac:spMkLst>
        </pc:spChg>
        <pc:grpChg chg="mod">
          <ac:chgData name="Dwayne Natwick" userId="3561b13b-c7da-4a5b-9614-8a4db83ccfee" providerId="ADAL" clId="{F95053C2-9E53-45DE-86ED-55B02F65B932}" dt="2023-11-14T15:44:15.447" v="217" actId="1076"/>
          <ac:grpSpMkLst>
            <pc:docMk/>
            <pc:sldMk cId="4270848246" sldId="2147470560"/>
            <ac:grpSpMk id="23" creationId="{9A24B8EE-D560-1520-6402-D508AEA160A5}"/>
          </ac:grpSpMkLst>
        </pc:grpChg>
      </pc:sldChg>
      <pc:sldChg chg="modSp mod">
        <pc:chgData name="Dwayne Natwick" userId="3561b13b-c7da-4a5b-9614-8a4db83ccfee" providerId="ADAL" clId="{F95053C2-9E53-45DE-86ED-55B02F65B932}" dt="2023-11-13T15:40:06.497" v="25" actId="6549"/>
        <pc:sldMkLst>
          <pc:docMk/>
          <pc:sldMk cId="3644458694" sldId="2147470564"/>
        </pc:sldMkLst>
        <pc:spChg chg="mod">
          <ac:chgData name="Dwayne Natwick" userId="3561b13b-c7da-4a5b-9614-8a4db83ccfee" providerId="ADAL" clId="{F95053C2-9E53-45DE-86ED-55B02F65B932}" dt="2023-11-13T15:39:56.808" v="20" actId="20577"/>
          <ac:spMkLst>
            <pc:docMk/>
            <pc:sldMk cId="3644458694" sldId="2147470564"/>
            <ac:spMk id="167" creationId="{D5F5558B-707E-639D-6D0D-A1F550396012}"/>
          </ac:spMkLst>
        </pc:spChg>
        <pc:spChg chg="mod">
          <ac:chgData name="Dwayne Natwick" userId="3561b13b-c7da-4a5b-9614-8a4db83ccfee" providerId="ADAL" clId="{F95053C2-9E53-45DE-86ED-55B02F65B932}" dt="2023-11-13T15:39:59.754" v="21" actId="6549"/>
          <ac:spMkLst>
            <pc:docMk/>
            <pc:sldMk cId="3644458694" sldId="2147470564"/>
            <ac:spMk id="173" creationId="{C0632E7C-0241-61E1-D3F4-FCB185277595}"/>
          </ac:spMkLst>
        </pc:spChg>
        <pc:spChg chg="mod">
          <ac:chgData name="Dwayne Natwick" userId="3561b13b-c7da-4a5b-9614-8a4db83ccfee" providerId="ADAL" clId="{F95053C2-9E53-45DE-86ED-55B02F65B932}" dt="2023-11-13T15:40:01.312" v="22" actId="6549"/>
          <ac:spMkLst>
            <pc:docMk/>
            <pc:sldMk cId="3644458694" sldId="2147470564"/>
            <ac:spMk id="181" creationId="{C01E1DF7-AFB3-BF3D-96A2-20CDD0FB59FE}"/>
          </ac:spMkLst>
        </pc:spChg>
        <pc:spChg chg="mod">
          <ac:chgData name="Dwayne Natwick" userId="3561b13b-c7da-4a5b-9614-8a4db83ccfee" providerId="ADAL" clId="{F95053C2-9E53-45DE-86ED-55B02F65B932}" dt="2023-11-13T15:40:03.462" v="23" actId="6549"/>
          <ac:spMkLst>
            <pc:docMk/>
            <pc:sldMk cId="3644458694" sldId="2147470564"/>
            <ac:spMk id="185" creationId="{7CA9D89B-B694-6F39-9E6F-1CA0F13592F6}"/>
          </ac:spMkLst>
        </pc:spChg>
        <pc:spChg chg="mod">
          <ac:chgData name="Dwayne Natwick" userId="3561b13b-c7da-4a5b-9614-8a4db83ccfee" providerId="ADAL" clId="{F95053C2-9E53-45DE-86ED-55B02F65B932}" dt="2023-11-13T15:40:04.568" v="24" actId="6549"/>
          <ac:spMkLst>
            <pc:docMk/>
            <pc:sldMk cId="3644458694" sldId="2147470564"/>
            <ac:spMk id="186" creationId="{2C77C621-8B24-9C01-BABF-AEA4AF1AAF56}"/>
          </ac:spMkLst>
        </pc:spChg>
        <pc:spChg chg="mod">
          <ac:chgData name="Dwayne Natwick" userId="3561b13b-c7da-4a5b-9614-8a4db83ccfee" providerId="ADAL" clId="{F95053C2-9E53-45DE-86ED-55B02F65B932}" dt="2023-11-13T15:40:06.497" v="25" actId="6549"/>
          <ac:spMkLst>
            <pc:docMk/>
            <pc:sldMk cId="3644458694" sldId="2147470564"/>
            <ac:spMk id="190" creationId="{8C2E0BB3-B0A3-DD4D-435A-54DA558FC4BD}"/>
          </ac:spMkLst>
        </pc:spChg>
      </pc:sldChg>
      <pc:sldChg chg="modSp mod">
        <pc:chgData name="Dwayne Natwick" userId="3561b13b-c7da-4a5b-9614-8a4db83ccfee" providerId="ADAL" clId="{F95053C2-9E53-45DE-86ED-55B02F65B932}" dt="2023-11-13T15:50:12.073" v="80" actId="6549"/>
        <pc:sldMkLst>
          <pc:docMk/>
          <pc:sldMk cId="2739312586" sldId="2147470565"/>
        </pc:sldMkLst>
        <pc:spChg chg="mod">
          <ac:chgData name="Dwayne Natwick" userId="3561b13b-c7da-4a5b-9614-8a4db83ccfee" providerId="ADAL" clId="{F95053C2-9E53-45DE-86ED-55B02F65B932}" dt="2023-11-13T15:50:12.073" v="80" actId="6549"/>
          <ac:spMkLst>
            <pc:docMk/>
            <pc:sldMk cId="2739312586" sldId="2147470565"/>
            <ac:spMk id="4" creationId="{DAA5FD98-5292-2367-63BF-BB583BFC2A96}"/>
          </ac:spMkLst>
        </pc:spChg>
      </pc:sldChg>
      <pc:sldChg chg="modSp mod">
        <pc:chgData name="Dwayne Natwick" userId="3561b13b-c7da-4a5b-9614-8a4db83ccfee" providerId="ADAL" clId="{F95053C2-9E53-45DE-86ED-55B02F65B932}" dt="2023-11-13T15:50:27.487" v="89" actId="20577"/>
        <pc:sldMkLst>
          <pc:docMk/>
          <pc:sldMk cId="948136224" sldId="2147470573"/>
        </pc:sldMkLst>
        <pc:spChg chg="mod">
          <ac:chgData name="Dwayne Natwick" userId="3561b13b-c7da-4a5b-9614-8a4db83ccfee" providerId="ADAL" clId="{F95053C2-9E53-45DE-86ED-55B02F65B932}" dt="2023-11-13T15:40:17.480" v="35" actId="20577"/>
          <ac:spMkLst>
            <pc:docMk/>
            <pc:sldMk cId="948136224" sldId="2147470573"/>
            <ac:spMk id="2" creationId="{9818A146-7202-24EA-7B4D-99C422D5DB3F}"/>
          </ac:spMkLst>
        </pc:spChg>
        <pc:spChg chg="mod">
          <ac:chgData name="Dwayne Natwick" userId="3561b13b-c7da-4a5b-9614-8a4db83ccfee" providerId="ADAL" clId="{F95053C2-9E53-45DE-86ED-55B02F65B932}" dt="2023-11-13T15:50:27.487" v="89" actId="20577"/>
          <ac:spMkLst>
            <pc:docMk/>
            <pc:sldMk cId="948136224" sldId="2147470573"/>
            <ac:spMk id="3" creationId="{8810F879-0D52-6206-A283-CE7E0B7E3C5D}"/>
          </ac:spMkLst>
        </pc:spChg>
      </pc:sldChg>
      <pc:sldChg chg="modSp mod modShow">
        <pc:chgData name="Dwayne Natwick" userId="3561b13b-c7da-4a5b-9614-8a4db83ccfee" providerId="ADAL" clId="{F95053C2-9E53-45DE-86ED-55B02F65B932}" dt="2023-11-13T15:53:25.049" v="116" actId="14100"/>
        <pc:sldMkLst>
          <pc:docMk/>
          <pc:sldMk cId="3649936595" sldId="2147470575"/>
        </pc:sldMkLst>
        <pc:spChg chg="mod">
          <ac:chgData name="Dwayne Natwick" userId="3561b13b-c7da-4a5b-9614-8a4db83ccfee" providerId="ADAL" clId="{F95053C2-9E53-45DE-86ED-55B02F65B932}" dt="2023-11-13T15:53:16.339" v="114" actId="20577"/>
          <ac:spMkLst>
            <pc:docMk/>
            <pc:sldMk cId="3649936595" sldId="2147470575"/>
            <ac:spMk id="2" creationId="{8839F5C4-843E-DBAD-044B-1872C9832914}"/>
          </ac:spMkLst>
        </pc:spChg>
        <pc:spChg chg="mod">
          <ac:chgData name="Dwayne Natwick" userId="3561b13b-c7da-4a5b-9614-8a4db83ccfee" providerId="ADAL" clId="{F95053C2-9E53-45DE-86ED-55B02F65B932}" dt="2023-11-13T15:53:25.049" v="116" actId="14100"/>
          <ac:spMkLst>
            <pc:docMk/>
            <pc:sldMk cId="3649936595" sldId="2147470575"/>
            <ac:spMk id="9" creationId="{7239C8F0-B9DF-87A5-21C6-7F2244DB4517}"/>
          </ac:spMkLst>
        </pc:spChg>
        <pc:picChg chg="mod">
          <ac:chgData name="Dwayne Natwick" userId="3561b13b-c7da-4a5b-9614-8a4db83ccfee" providerId="ADAL" clId="{F95053C2-9E53-45DE-86ED-55B02F65B932}" dt="2023-11-13T15:53:21.795" v="115" actId="14100"/>
          <ac:picMkLst>
            <pc:docMk/>
            <pc:sldMk cId="3649936595" sldId="2147470575"/>
            <ac:picMk id="4" creationId="{5AF45389-AE37-8E5F-A9DE-5C05DCB87D6A}"/>
          </ac:picMkLst>
        </pc:picChg>
      </pc:sldChg>
      <pc:sldChg chg="modSp">
        <pc:chgData name="Dwayne Natwick" userId="3561b13b-c7da-4a5b-9614-8a4db83ccfee" providerId="ADAL" clId="{F95053C2-9E53-45DE-86ED-55B02F65B932}" dt="2023-11-13T15:54:40.102" v="125" actId="20577"/>
        <pc:sldMkLst>
          <pc:docMk/>
          <pc:sldMk cId="511214272" sldId="2147470576"/>
        </pc:sldMkLst>
        <pc:graphicFrameChg chg="mod">
          <ac:chgData name="Dwayne Natwick" userId="3561b13b-c7da-4a5b-9614-8a4db83ccfee" providerId="ADAL" clId="{F95053C2-9E53-45DE-86ED-55B02F65B932}" dt="2023-11-13T15:54:40.102" v="125" actId="20577"/>
          <ac:graphicFrameMkLst>
            <pc:docMk/>
            <pc:sldMk cId="511214272" sldId="2147470576"/>
            <ac:graphicFrameMk id="5" creationId="{0F261073-2BAD-D61A-DB99-49C156412A8F}"/>
          </ac:graphicFrameMkLst>
        </pc:graphicFrameChg>
      </pc:sldChg>
      <pc:sldChg chg="modSp mod">
        <pc:chgData name="Dwayne Natwick" userId="3561b13b-c7da-4a5b-9614-8a4db83ccfee" providerId="ADAL" clId="{F95053C2-9E53-45DE-86ED-55B02F65B932}" dt="2023-11-13T15:55:15.317" v="126" actId="6549"/>
        <pc:sldMkLst>
          <pc:docMk/>
          <pc:sldMk cId="4196600117" sldId="2147470577"/>
        </pc:sldMkLst>
        <pc:spChg chg="mod">
          <ac:chgData name="Dwayne Natwick" userId="3561b13b-c7da-4a5b-9614-8a4db83ccfee" providerId="ADAL" clId="{F95053C2-9E53-45DE-86ED-55B02F65B932}" dt="2023-11-13T15:55:15.317" v="126" actId="6549"/>
          <ac:spMkLst>
            <pc:docMk/>
            <pc:sldMk cId="4196600117" sldId="2147470577"/>
            <ac:spMk id="3" creationId="{6EC7CC27-14D6-DF5B-9E38-E7E4DDE94B23}"/>
          </ac:spMkLst>
        </pc:spChg>
      </pc:sldChg>
      <pc:sldChg chg="modSp">
        <pc:chgData name="Dwayne Natwick" userId="3561b13b-c7da-4a5b-9614-8a4db83ccfee" providerId="ADAL" clId="{F95053C2-9E53-45DE-86ED-55B02F65B932}" dt="2023-11-13T15:42:11.308" v="69" actId="20577"/>
        <pc:sldMkLst>
          <pc:docMk/>
          <pc:sldMk cId="1437570267" sldId="2147470580"/>
        </pc:sldMkLst>
        <pc:graphicFrameChg chg="mod">
          <ac:chgData name="Dwayne Natwick" userId="3561b13b-c7da-4a5b-9614-8a4db83ccfee" providerId="ADAL" clId="{F95053C2-9E53-45DE-86ED-55B02F65B932}" dt="2023-11-13T15:42:11.308" v="69" actId="20577"/>
          <ac:graphicFrameMkLst>
            <pc:docMk/>
            <pc:sldMk cId="1437570267" sldId="2147470580"/>
            <ac:graphicFrameMk id="7" creationId="{3A80CE1E-78CC-6677-9E1F-AD6A51F41468}"/>
          </ac:graphicFrameMkLst>
        </pc:graphicFrameChg>
      </pc:sldChg>
      <pc:sldChg chg="modSp mod">
        <pc:chgData name="Dwayne Natwick" userId="3561b13b-c7da-4a5b-9614-8a4db83ccfee" providerId="ADAL" clId="{F95053C2-9E53-45DE-86ED-55B02F65B932}" dt="2023-11-13T15:50:42.319" v="90" actId="6549"/>
        <pc:sldMkLst>
          <pc:docMk/>
          <pc:sldMk cId="3386646133" sldId="2147470584"/>
        </pc:sldMkLst>
        <pc:spChg chg="mod">
          <ac:chgData name="Dwayne Natwick" userId="3561b13b-c7da-4a5b-9614-8a4db83ccfee" providerId="ADAL" clId="{F95053C2-9E53-45DE-86ED-55B02F65B932}" dt="2023-11-13T15:50:42.319" v="90" actId="6549"/>
          <ac:spMkLst>
            <pc:docMk/>
            <pc:sldMk cId="3386646133" sldId="2147470584"/>
            <ac:spMk id="2" creationId="{9818A146-7202-24EA-7B4D-99C422D5DB3F}"/>
          </ac:spMkLst>
        </pc:spChg>
      </pc:sldChg>
      <pc:sldChg chg="modSp mod">
        <pc:chgData name="Dwayne Natwick" userId="3561b13b-c7da-4a5b-9614-8a4db83ccfee" providerId="ADAL" clId="{F95053C2-9E53-45DE-86ED-55B02F65B932}" dt="2023-11-13T15:50:50.974" v="92" actId="6549"/>
        <pc:sldMkLst>
          <pc:docMk/>
          <pc:sldMk cId="3650723693" sldId="2147470585"/>
        </pc:sldMkLst>
        <pc:spChg chg="mod">
          <ac:chgData name="Dwayne Natwick" userId="3561b13b-c7da-4a5b-9614-8a4db83ccfee" providerId="ADAL" clId="{F95053C2-9E53-45DE-86ED-55B02F65B932}" dt="2023-11-13T15:50:49.497" v="91" actId="6549"/>
          <ac:spMkLst>
            <pc:docMk/>
            <pc:sldMk cId="3650723693" sldId="2147470585"/>
            <ac:spMk id="2" creationId="{9818A146-7202-24EA-7B4D-99C422D5DB3F}"/>
          </ac:spMkLst>
        </pc:spChg>
        <pc:spChg chg="mod">
          <ac:chgData name="Dwayne Natwick" userId="3561b13b-c7da-4a5b-9614-8a4db83ccfee" providerId="ADAL" clId="{F95053C2-9E53-45DE-86ED-55B02F65B932}" dt="2023-11-13T15:50:50.974" v="92" actId="6549"/>
          <ac:spMkLst>
            <pc:docMk/>
            <pc:sldMk cId="3650723693" sldId="2147470585"/>
            <ac:spMk id="3" creationId="{8810F879-0D52-6206-A283-CE7E0B7E3C5D}"/>
          </ac:spMkLst>
        </pc:spChg>
      </pc:sldChg>
      <pc:sldChg chg="modSp mod">
        <pc:chgData name="Dwayne Natwick" userId="3561b13b-c7da-4a5b-9614-8a4db83ccfee" providerId="ADAL" clId="{F95053C2-9E53-45DE-86ED-55B02F65B932}" dt="2023-11-13T15:51:59.038" v="98" actId="20577"/>
        <pc:sldMkLst>
          <pc:docMk/>
          <pc:sldMk cId="694622249" sldId="2147470586"/>
        </pc:sldMkLst>
        <pc:spChg chg="mod">
          <ac:chgData name="Dwayne Natwick" userId="3561b13b-c7da-4a5b-9614-8a4db83ccfee" providerId="ADAL" clId="{F95053C2-9E53-45DE-86ED-55B02F65B932}" dt="2023-11-13T15:51:59.038" v="98" actId="20577"/>
          <ac:spMkLst>
            <pc:docMk/>
            <pc:sldMk cId="694622249" sldId="2147470586"/>
            <ac:spMk id="2" creationId="{4F03887C-60C2-A9BC-7D57-446E94505E95}"/>
          </ac:spMkLst>
        </pc:spChg>
      </pc:sldChg>
      <pc:sldChg chg="modSp mod">
        <pc:chgData name="Dwayne Natwick" userId="3561b13b-c7da-4a5b-9614-8a4db83ccfee" providerId="ADAL" clId="{F95053C2-9E53-45DE-86ED-55B02F65B932}" dt="2023-11-13T15:52:14.013" v="101" actId="20577"/>
        <pc:sldMkLst>
          <pc:docMk/>
          <pc:sldMk cId="347590927" sldId="2147470587"/>
        </pc:sldMkLst>
        <pc:spChg chg="mod">
          <ac:chgData name="Dwayne Natwick" userId="3561b13b-c7da-4a5b-9614-8a4db83ccfee" providerId="ADAL" clId="{F95053C2-9E53-45DE-86ED-55B02F65B932}" dt="2023-11-13T15:52:14.013" v="101" actId="20577"/>
          <ac:spMkLst>
            <pc:docMk/>
            <pc:sldMk cId="347590927" sldId="2147470587"/>
            <ac:spMk id="2" creationId="{49ED4149-7D80-DC24-D85C-E8F8E2138C6D}"/>
          </ac:spMkLst>
        </pc:spChg>
      </pc:sldChg>
      <pc:sldChg chg="modSp">
        <pc:chgData name="Dwayne Natwick" userId="3561b13b-c7da-4a5b-9614-8a4db83ccfee" providerId="ADAL" clId="{F95053C2-9E53-45DE-86ED-55B02F65B932}" dt="2023-11-13T15:52:34.237" v="102" actId="20577"/>
        <pc:sldMkLst>
          <pc:docMk/>
          <pc:sldMk cId="2214484181" sldId="2147470588"/>
        </pc:sldMkLst>
        <pc:graphicFrameChg chg="mod">
          <ac:chgData name="Dwayne Natwick" userId="3561b13b-c7da-4a5b-9614-8a4db83ccfee" providerId="ADAL" clId="{F95053C2-9E53-45DE-86ED-55B02F65B932}" dt="2023-11-13T15:52:34.237" v="102" actId="20577"/>
          <ac:graphicFrameMkLst>
            <pc:docMk/>
            <pc:sldMk cId="2214484181" sldId="2147470588"/>
            <ac:graphicFrameMk id="5" creationId="{F0FC495E-D653-EBE3-078E-A8B68A55A8FA}"/>
          </ac:graphicFrameMkLst>
        </pc:graphicFrameChg>
      </pc:sldChg>
      <pc:sldChg chg="mod modShow">
        <pc:chgData name="Dwayne Natwick" userId="3561b13b-c7da-4a5b-9614-8a4db83ccfee" providerId="ADAL" clId="{F95053C2-9E53-45DE-86ED-55B02F65B932}" dt="2023-11-13T15:52:59.188" v="103" actId="729"/>
        <pc:sldMkLst>
          <pc:docMk/>
          <pc:sldMk cId="1568180102" sldId="2147470591"/>
        </pc:sldMkLst>
      </pc:sldChg>
      <pc:sldChg chg="modSp">
        <pc:chgData name="Dwayne Natwick" userId="3561b13b-c7da-4a5b-9614-8a4db83ccfee" providerId="ADAL" clId="{F95053C2-9E53-45DE-86ED-55B02F65B932}" dt="2023-11-13T15:54:09.376" v="123" actId="20577"/>
        <pc:sldMkLst>
          <pc:docMk/>
          <pc:sldMk cId="3381500547" sldId="2147470595"/>
        </pc:sldMkLst>
        <pc:graphicFrameChg chg="mod">
          <ac:chgData name="Dwayne Natwick" userId="3561b13b-c7da-4a5b-9614-8a4db83ccfee" providerId="ADAL" clId="{F95053C2-9E53-45DE-86ED-55B02F65B932}" dt="2023-11-13T15:54:09.376" v="123" actId="20577"/>
          <ac:graphicFrameMkLst>
            <pc:docMk/>
            <pc:sldMk cId="3381500547" sldId="2147470595"/>
            <ac:graphicFrameMk id="11" creationId="{2183D4C5-A866-40A4-5694-A87F596A4052}"/>
          </ac:graphicFrameMkLst>
        </pc:graphicFrameChg>
      </pc:sldChg>
      <pc:sldChg chg="modSp mod">
        <pc:chgData name="Dwayne Natwick" userId="3561b13b-c7da-4a5b-9614-8a4db83ccfee" providerId="ADAL" clId="{F95053C2-9E53-45DE-86ED-55B02F65B932}" dt="2023-11-13T15:53:55.740" v="121" actId="6549"/>
        <pc:sldMkLst>
          <pc:docMk/>
          <pc:sldMk cId="1103145275" sldId="2147470598"/>
        </pc:sldMkLst>
        <pc:spChg chg="mod">
          <ac:chgData name="Dwayne Natwick" userId="3561b13b-c7da-4a5b-9614-8a4db83ccfee" providerId="ADAL" clId="{F95053C2-9E53-45DE-86ED-55B02F65B932}" dt="2023-11-13T15:53:52.276" v="120" actId="6549"/>
          <ac:spMkLst>
            <pc:docMk/>
            <pc:sldMk cId="1103145275" sldId="2147470598"/>
            <ac:spMk id="2" creationId="{C83B6E44-5BA6-5E05-4F62-06C1C1B4745F}"/>
          </ac:spMkLst>
        </pc:spChg>
        <pc:spChg chg="mod">
          <ac:chgData name="Dwayne Natwick" userId="3561b13b-c7da-4a5b-9614-8a4db83ccfee" providerId="ADAL" clId="{F95053C2-9E53-45DE-86ED-55B02F65B932}" dt="2023-11-13T15:53:55.740" v="121" actId="6549"/>
          <ac:spMkLst>
            <pc:docMk/>
            <pc:sldMk cId="1103145275" sldId="2147470598"/>
            <ac:spMk id="3" creationId="{F8D78B17-9AC1-3773-F5A7-05FB325AB696}"/>
          </ac:spMkLst>
        </pc:spChg>
      </pc:sldChg>
      <pc:sldChg chg="modSp add mod">
        <pc:chgData name="Dwayne Natwick" userId="3561b13b-c7da-4a5b-9614-8a4db83ccfee" providerId="ADAL" clId="{F95053C2-9E53-45DE-86ED-55B02F65B932}" dt="2023-11-13T15:53:47.651" v="119" actId="6549"/>
        <pc:sldMkLst>
          <pc:docMk/>
          <pc:sldMk cId="3798444832" sldId="2147470609"/>
        </pc:sldMkLst>
        <pc:spChg chg="mod">
          <ac:chgData name="Dwayne Natwick" userId="3561b13b-c7da-4a5b-9614-8a4db83ccfee" providerId="ADAL" clId="{F95053C2-9E53-45DE-86ED-55B02F65B932}" dt="2023-11-13T15:53:45.543" v="118" actId="6549"/>
          <ac:spMkLst>
            <pc:docMk/>
            <pc:sldMk cId="3798444832" sldId="2147470609"/>
            <ac:spMk id="2" creationId="{C83B6E44-5BA6-5E05-4F62-06C1C1B4745F}"/>
          </ac:spMkLst>
        </pc:spChg>
        <pc:spChg chg="mod">
          <ac:chgData name="Dwayne Natwick" userId="3561b13b-c7da-4a5b-9614-8a4db83ccfee" providerId="ADAL" clId="{F95053C2-9E53-45DE-86ED-55B02F65B932}" dt="2023-11-13T15:53:47.651" v="119" actId="6549"/>
          <ac:spMkLst>
            <pc:docMk/>
            <pc:sldMk cId="3798444832" sldId="2147470609"/>
            <ac:spMk id="3" creationId="{F8D78B17-9AC1-3773-F5A7-05FB325AB696}"/>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1C585141-5794-4690-B51B-A0A1573CC43D}"/>
    <pc:docChg chg="addSld modSld">
      <pc:chgData name="Dwayne Natwick" userId="d11f0013982d5c78" providerId="Windows Live" clId="Web-{1C585141-5794-4690-B51B-A0A1573CC43D}" dt="2023-09-14T18:53:43.575" v="4" actId="20577"/>
      <pc:docMkLst>
        <pc:docMk/>
      </pc:docMkLst>
      <pc:sldChg chg="add">
        <pc:chgData name="Dwayne Natwick" userId="d11f0013982d5c78" providerId="Windows Live" clId="Web-{1C585141-5794-4690-B51B-A0A1573CC43D}" dt="2023-09-14T18:53:17.433" v="0"/>
        <pc:sldMkLst>
          <pc:docMk/>
          <pc:sldMk cId="1617807187" sldId="2147470607"/>
        </pc:sldMkLst>
      </pc:sldChg>
      <pc:sldChg chg="modSp add">
        <pc:chgData name="Dwayne Natwick" userId="d11f0013982d5c78" providerId="Windows Live" clId="Web-{1C585141-5794-4690-B51B-A0A1573CC43D}" dt="2023-09-14T18:53:43.575" v="4" actId="20577"/>
        <pc:sldMkLst>
          <pc:docMk/>
          <pc:sldMk cId="1189282705" sldId="2147470608"/>
        </pc:sldMkLst>
        <pc:spChg chg="mod">
          <ac:chgData name="Dwayne Natwick" userId="d11f0013982d5c78" providerId="Windows Live" clId="Web-{1C585141-5794-4690-B51B-A0A1573CC43D}" dt="2023-09-14T18:53:43.575" v="4" actId="20577"/>
          <ac:spMkLst>
            <pc:docMk/>
            <pc:sldMk cId="1189282705" sldId="2147470608"/>
            <ac:spMk id="2" creationId="{EDF87A23-46AF-F5CE-1408-BC8C91B71A9B}"/>
          </ac:spMkLst>
        </pc:sp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docChgLst>
    <pc:chgData name="Dwayne Natwick" userId="d11f0013982d5c78" providerId="Windows Live" clId="Web-{EB2C8990-FC67-4923-BE6B-3A97BC210081}"/>
    <pc:docChg chg="delSld modSld">
      <pc:chgData name="Dwayne Natwick" userId="d11f0013982d5c78" providerId="Windows Live" clId="Web-{EB2C8990-FC67-4923-BE6B-3A97BC210081}" dt="2023-09-12T18:46:49.014" v="37" actId="20577"/>
      <pc:docMkLst>
        <pc:docMk/>
      </pc:docMkLst>
      <pc:sldChg chg="del">
        <pc:chgData name="Dwayne Natwick" userId="d11f0013982d5c78" providerId="Windows Live" clId="Web-{EB2C8990-FC67-4923-BE6B-3A97BC210081}" dt="2023-09-12T18:46:21.576" v="18"/>
        <pc:sldMkLst>
          <pc:docMk/>
          <pc:sldMk cId="3164376787" sldId="2076137029"/>
        </pc:sldMkLst>
      </pc:sldChg>
      <pc:sldChg chg="del">
        <pc:chgData name="Dwayne Natwick" userId="d11f0013982d5c78" providerId="Windows Live" clId="Web-{EB2C8990-FC67-4923-BE6B-3A97BC210081}" dt="2023-09-12T18:46:35.170" v="21"/>
        <pc:sldMkLst>
          <pc:docMk/>
          <pc:sldMk cId="2024722602" sldId="2145705724"/>
        </pc:sldMkLst>
      </pc:sldChg>
      <pc:sldChg chg="del">
        <pc:chgData name="Dwayne Natwick" userId="d11f0013982d5c78" providerId="Windows Live" clId="Web-{EB2C8990-FC67-4923-BE6B-3A97BC210081}" dt="2023-09-12T18:46:35.170" v="20"/>
        <pc:sldMkLst>
          <pc:docMk/>
          <pc:sldMk cId="682611613" sldId="2147470555"/>
        </pc:sldMkLst>
      </pc:sldChg>
      <pc:sldChg chg="del">
        <pc:chgData name="Dwayne Natwick" userId="d11f0013982d5c78" providerId="Windows Live" clId="Web-{EB2C8990-FC67-4923-BE6B-3A97BC210081}" dt="2023-09-12T18:46:35.170" v="22"/>
        <pc:sldMkLst>
          <pc:docMk/>
          <pc:sldMk cId="1307574574" sldId="2147470566"/>
        </pc:sldMkLst>
      </pc:sldChg>
      <pc:sldChg chg="del">
        <pc:chgData name="Dwayne Natwick" userId="d11f0013982d5c78" providerId="Windows Live" clId="Web-{EB2C8990-FC67-4923-BE6B-3A97BC210081}" dt="2023-09-12T18:46:21.576" v="19"/>
        <pc:sldMkLst>
          <pc:docMk/>
          <pc:sldMk cId="2251723249" sldId="2147470571"/>
        </pc:sldMkLst>
      </pc:sldChg>
      <pc:sldChg chg="del">
        <pc:chgData name="Dwayne Natwick" userId="d11f0013982d5c78" providerId="Windows Live" clId="Web-{EB2C8990-FC67-4923-BE6B-3A97BC210081}" dt="2023-09-12T18:46:35.170" v="24"/>
        <pc:sldMkLst>
          <pc:docMk/>
          <pc:sldMk cId="1259147145" sldId="2147470572"/>
        </pc:sldMkLst>
      </pc:sldChg>
      <pc:sldChg chg="del">
        <pc:chgData name="Dwayne Natwick" userId="d11f0013982d5c78" providerId="Windows Live" clId="Web-{EB2C8990-FC67-4923-BE6B-3A97BC210081}" dt="2023-09-12T18:46:35.170" v="23"/>
        <pc:sldMkLst>
          <pc:docMk/>
          <pc:sldMk cId="3861986293" sldId="2147470583"/>
        </pc:sldMkLst>
      </pc:sldChg>
      <pc:sldChg chg="modSp">
        <pc:chgData name="Dwayne Natwick" userId="d11f0013982d5c78" providerId="Windows Live" clId="Web-{EB2C8990-FC67-4923-BE6B-3A97BC210081}" dt="2023-09-12T18:46:49.014" v="37" actId="20577"/>
        <pc:sldMkLst>
          <pc:docMk/>
          <pc:sldMk cId="818381816" sldId="2147470603"/>
        </pc:sldMkLst>
        <pc:spChg chg="mod">
          <ac:chgData name="Dwayne Natwick" userId="d11f0013982d5c78" providerId="Windows Live" clId="Web-{EB2C8990-FC67-4923-BE6B-3A97BC210081}" dt="2023-09-12T18:46:49.014" v="37" actId="20577"/>
          <ac:spMkLst>
            <pc:docMk/>
            <pc:sldMk cId="818381816" sldId="2147470603"/>
            <ac:spMk id="2" creationId="{405A5204-DC92-084D-2C0F-8862EE432163}"/>
          </ac:spMkLst>
        </pc:spChg>
      </pc:sldChg>
      <pc:sldChg chg="modSp">
        <pc:chgData name="Dwayne Natwick" userId="d11f0013982d5c78" providerId="Windows Live" clId="Web-{EB2C8990-FC67-4923-BE6B-3A97BC210081}" dt="2023-09-12T18:46:09.873" v="17" actId="20577"/>
        <pc:sldMkLst>
          <pc:docMk/>
          <pc:sldMk cId="1742974702" sldId="2147470604"/>
        </pc:sldMkLst>
        <pc:spChg chg="mod">
          <ac:chgData name="Dwayne Natwick" userId="d11f0013982d5c78" providerId="Windows Live" clId="Web-{EB2C8990-FC67-4923-BE6B-3A97BC210081}" dt="2023-09-12T18:46:09.873" v="17" actId="20577"/>
          <ac:spMkLst>
            <pc:docMk/>
            <pc:sldMk cId="1742974702" sldId="2147470604"/>
            <ac:spMk id="3" creationId="{85C97FA8-BE0A-E10E-33B0-9E19F185EBA4}"/>
          </ac:spMkLst>
        </pc:spChg>
      </pc:sldChg>
      <pc:sldChg chg="modSp">
        <pc:chgData name="Dwayne Natwick" userId="d11f0013982d5c78" providerId="Windows Live" clId="Web-{EB2C8990-FC67-4923-BE6B-3A97BC210081}" dt="2023-09-12T18:46:02.169" v="9" actId="20577"/>
        <pc:sldMkLst>
          <pc:docMk/>
          <pc:sldMk cId="1637472956" sldId="2147470605"/>
        </pc:sldMkLst>
        <pc:spChg chg="mod">
          <ac:chgData name="Dwayne Natwick" userId="d11f0013982d5c78" providerId="Windows Live" clId="Web-{EB2C8990-FC67-4923-BE6B-3A97BC210081}" dt="2023-09-12T18:46:02.169" v="9" actId="20577"/>
          <ac:spMkLst>
            <pc:docMk/>
            <pc:sldMk cId="1637472956" sldId="2147470605"/>
            <ac:spMk id="3" creationId="{DDB7FF23-C1F3-ECC1-8CF4-0F54F4733DD3}"/>
          </ac:spMkLst>
        </pc:spChg>
      </pc:sldChg>
      <pc:sldChg chg="modSp">
        <pc:chgData name="Dwayne Natwick" userId="d11f0013982d5c78" providerId="Windows Live" clId="Web-{EB2C8990-FC67-4923-BE6B-3A97BC210081}" dt="2023-09-12T18:46:06.045" v="13" actId="20577"/>
        <pc:sldMkLst>
          <pc:docMk/>
          <pc:sldMk cId="3543320482" sldId="2147470606"/>
        </pc:sldMkLst>
        <pc:spChg chg="mod">
          <ac:chgData name="Dwayne Natwick" userId="d11f0013982d5c78" providerId="Windows Live" clId="Web-{EB2C8990-FC67-4923-BE6B-3A97BC210081}" dt="2023-09-12T18:46:06.045" v="13" actId="20577"/>
          <ac:spMkLst>
            <pc:docMk/>
            <pc:sldMk cId="3543320482" sldId="2147470606"/>
            <ac:spMk id="3" creationId="{DDB7FF23-C1F3-ECC1-8CF4-0F54F4733DD3}"/>
          </ac:spMkLst>
        </pc:spChg>
      </pc:sldChg>
    </pc:docChg>
  </pc:docChgLst>
</pc:chgInfo>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dirty="0"/>
            <a:t>Have permission to purchase from Marketplace</a:t>
          </a:r>
          <a:endParaRPr lang="en-US" dirty="0"/>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dirty="0"/>
            <a:t>Microsoft Partner solutions may be in Microsoft portals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dgm:spPr/>
      <dgm:t>
        <a:bodyPr/>
        <a:lstStyle/>
        <a:p>
          <a:endParaRPr lang="en-US"/>
        </a:p>
      </dgm:t>
    </dgm:pt>
    <dgm:pt modelId="{51A7BD30-DF04-4C26-BB4E-C3E82F3A3665}">
      <dgm:prSet/>
      <dgm:spPr/>
      <dgm:t>
        <a:bodyPr/>
        <a:lstStyle/>
        <a:p>
          <a:r>
            <a:rPr lang="en-US"/>
            <a:t>Go to the Azur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phldr="1"/>
      <dgm:spPr/>
      <dgm:t>
        <a:bodyPr/>
        <a:lstStyle/>
        <a:p>
          <a:endParaRPr lang="en-US"/>
        </a:p>
      </dgm:t>
    </dgm:pt>
    <dgm:pt modelId="{AFAD1D2C-C1CD-41AA-84C0-711DC114A24B}">
      <dgm:prSet/>
      <dgm:spPr/>
      <dgm:t>
        <a:bodyPr/>
        <a:lstStyle/>
        <a:p>
          <a:r>
            <a:rPr lang="en-US" dirty="0"/>
            <a:t>Go to th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dirty="0"/>
            <a:t>Listing (Contact Me)</a:t>
          </a:r>
          <a:endParaRPr lang="en-US" dirty="0"/>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dirty="0"/>
            <a:t>Free Trial</a:t>
          </a:r>
          <a:endParaRPr lang="en-US" dirty="0"/>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dirty="0"/>
            <a:t>Bring Your Own License (BYOL) - Get it Now</a:t>
          </a:r>
          <a:endParaRPr lang="en-US" dirty="0"/>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dirty="0"/>
            <a:t>Transaction – Get it Now</a:t>
          </a:r>
          <a:endParaRPr lang="en-US" dirty="0"/>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dirty="0"/>
            <a:t>Bill to Microsoft account</a:t>
          </a:r>
          <a:endParaRPr lang="en-US" dirty="0"/>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dirty="0"/>
            <a:t>Process with credit card</a:t>
          </a:r>
          <a:endParaRPr lang="en-US" dirty="0"/>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dirty="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dirty="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dirty="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dirty="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dirty="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dirty="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dirty="0"/>
            <a:t>Have correct role assignment to purchase</a:t>
          </a:r>
          <a:endParaRPr lang="en-US" dirty="0"/>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a:t>Have permission to purchase from Azure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dirty="0"/>
            <a:t>Have permission to purchase from Marketplace</a:t>
          </a:r>
          <a:endParaRPr lang="en-US" sz="2500" kern="1200" dirty="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dirty="0"/>
            <a:t>Microsoft Partner solutions may be in Microsoft portals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Go to the Azur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dirty="0"/>
            <a:t>Go to th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Listing (Contact Me)</a:t>
          </a:r>
          <a:endParaRPr lang="en-US" sz="1800" kern="1200" dirty="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dirty="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Free Trial</a:t>
          </a:r>
          <a:endParaRPr lang="en-US" sz="1800" kern="1200" dirty="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dirty="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Bring Your Own License (BYOL) - Get it Now</a:t>
          </a:r>
          <a:endParaRPr lang="en-US" sz="1800" kern="1200" dirty="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dirty="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dirty="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Transaction – Get it Now</a:t>
          </a:r>
          <a:endParaRPr lang="en-US" sz="1800" kern="1200" dirty="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Bill to Microsoft account</a:t>
          </a:r>
          <a:endParaRPr lang="en-US" sz="1800" kern="1200" dirty="0"/>
        </a:p>
        <a:p>
          <a:pPr marL="171450" lvl="1" indent="-171450" algn="l" defTabSz="800100">
            <a:lnSpc>
              <a:spcPct val="90000"/>
            </a:lnSpc>
            <a:spcBef>
              <a:spcPct val="0"/>
            </a:spcBef>
            <a:spcAft>
              <a:spcPct val="15000"/>
            </a:spcAft>
            <a:buChar char="•"/>
          </a:pPr>
          <a:r>
            <a:rPr lang="en-US" sz="1800" kern="1200" baseline="0" dirty="0"/>
            <a:t>Process with credit card</a:t>
          </a:r>
          <a:endParaRPr lang="en-US" sz="1800" kern="1200" dirty="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Have an Azure subscription</a:t>
          </a:r>
          <a:endParaRPr lang="en-US" sz="2800" kern="1200"/>
        </a:p>
        <a:p>
          <a:pPr marL="285750" lvl="1" indent="-285750" algn="l" defTabSz="1244600">
            <a:lnSpc>
              <a:spcPct val="90000"/>
            </a:lnSpc>
            <a:spcBef>
              <a:spcPct val="0"/>
            </a:spcBef>
            <a:spcAft>
              <a:spcPct val="15000"/>
            </a:spcAft>
            <a:buChar char="•"/>
          </a:pPr>
          <a:r>
            <a:rPr lang="en-US" sz="2800" kern="1200" baseline="0" dirty="0"/>
            <a:t>Have correct role assignment to purchase</a:t>
          </a:r>
          <a:endParaRPr lang="en-US" sz="2800" kern="1200" dirty="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Solution template (ARM template)</a:t>
          </a:r>
          <a:endParaRPr lang="en-US" sz="2800" kern="1200"/>
        </a:p>
        <a:p>
          <a:pPr marL="285750" lvl="1" indent="-285750" algn="l" defTabSz="1244600">
            <a:lnSpc>
              <a:spcPct val="90000"/>
            </a:lnSpc>
            <a:spcBef>
              <a:spcPct val="0"/>
            </a:spcBef>
            <a:spcAft>
              <a:spcPct val="15000"/>
            </a:spcAft>
            <a:buChar char="•"/>
          </a:pPr>
          <a:r>
            <a:rPr lang="en-US" sz="2800" kern="1200" baseline="0"/>
            <a:t>Managed application</a:t>
          </a:r>
          <a:endParaRPr lang="en-US" sz="28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hlinkClick xmlns:r="http://schemas.openxmlformats.org/officeDocument/2006/relationships" r:id="rId1"/>
            </a:rPr>
            <a:t>https://portal.azure.com</a:t>
          </a:r>
          <a:r>
            <a:rPr lang="en-US" sz="2800" kern="1200" baseline="0"/>
            <a:t> </a:t>
          </a:r>
          <a:endParaRPr lang="en-US" sz="28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a:t>Have permission to purchase from Azure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11/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dirty="0">
                <a:latin typeface="Segoe UI"/>
                <a:ea typeface="Calibri" panose="020F0502020204030204" pitchFamily="34" charset="0"/>
                <a:cs typeface="Segoe UI"/>
              </a:rPr>
              <a:t>Review the learning objects with the participants. </a:t>
            </a:r>
          </a:p>
          <a:p>
            <a:pPr defTabSz="92491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22511545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1</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2</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374509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8</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9</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0</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2</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3</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4</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1</a:t>
            </a:fld>
            <a:endParaRPr lang="en-US"/>
          </a:p>
        </p:txBody>
      </p:sp>
    </p:spTree>
    <p:extLst>
      <p:ext uri="{BB962C8B-B14F-4D97-AF65-F5344CB8AC3E}">
        <p14:creationId xmlns:p14="http://schemas.microsoft.com/office/powerpoint/2010/main" val="17763278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2</a:t>
            </a:fld>
            <a:endParaRPr lang="en-US"/>
          </a:p>
        </p:txBody>
      </p:sp>
    </p:spTree>
    <p:extLst>
      <p:ext uri="{BB962C8B-B14F-4D97-AF65-F5344CB8AC3E}">
        <p14:creationId xmlns:p14="http://schemas.microsoft.com/office/powerpoint/2010/main" val="2346566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3</a:t>
            </a:fld>
            <a:endParaRPr lang="en-US"/>
          </a:p>
        </p:txBody>
      </p:sp>
    </p:spTree>
    <p:extLst>
      <p:ext uri="{BB962C8B-B14F-4D97-AF65-F5344CB8AC3E}">
        <p14:creationId xmlns:p14="http://schemas.microsoft.com/office/powerpoint/2010/main" val="13424637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dirty="0">
              <a:latin typeface="Segoe UI Light"/>
              <a:cs typeface="Segoe UI Light"/>
            </a:endParaRPr>
          </a:p>
          <a:p>
            <a:pPr>
              <a:defRPr/>
            </a:pPr>
            <a:r>
              <a:rPr lang="en-US" sz="1000" b="1" i="0" dirty="0">
                <a:latin typeface="Segoe UI Light"/>
                <a:cs typeface="Segoe UI Light"/>
              </a:rPr>
              <a:t>NOTE: </a:t>
            </a:r>
            <a:r>
              <a:rPr lang="en-US" sz="1000" i="0" dirty="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dirty="0">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dirty="0">
                <a:latin typeface="Segoe UI Light"/>
                <a:cs typeface="Segoe UI Light"/>
              </a:rPr>
              <a:t>SAY:</a:t>
            </a:r>
            <a:endParaRPr lang="en-US" dirty="0">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Segoe UI Light"/>
                <a:cs typeface="Segoe UI Light"/>
              </a:rPr>
              <a:t>Training is x hours long.</a:t>
            </a:r>
          </a:p>
          <a:p>
            <a:pPr marL="171450" indent="-171450">
              <a:buFont typeface="Wingdings" panose="05000000000000000000" pitchFamily="2" charset="2"/>
              <a:buChar char="§"/>
            </a:pPr>
            <a:r>
              <a:rPr lang="en-US" sz="1000" dirty="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dirty="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dirty="0">
              <a:solidFill>
                <a:srgbClr val="24292E"/>
              </a:solidFill>
              <a:effectLst/>
              <a:latin typeface="Segoe UI" panose="020B0502040204020203" pitchFamily="34" charset="0"/>
              <a:cs typeface="Segoe UI" panose="020B0502040204020203" pitchFamily="34" charset="0"/>
            </a:endParaRPr>
          </a:p>
          <a:p>
            <a:endParaRPr lang="en-US" sz="1000" i="1"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1</a:t>
            </a:fld>
            <a:endParaRPr lang="en-US"/>
          </a:p>
        </p:txBody>
      </p:sp>
    </p:spTree>
    <p:extLst>
      <p:ext uri="{BB962C8B-B14F-4D97-AF65-F5344CB8AC3E}">
        <p14:creationId xmlns:p14="http://schemas.microsoft.com/office/powerpoint/2010/main" val="4147027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11/14/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1.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Commercial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dirty="0"/>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dirty="0"/>
              <a:t>Who uses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dirty="0"/>
              <a:t>AppSource vs.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dirty="0"/>
              <a:t>Marketplace is specific to Azure</a:t>
            </a:r>
          </a:p>
          <a:p>
            <a:r>
              <a:rPr lang="en-US" dirty="0"/>
              <a:t>Microsoft AppSource is for:</a:t>
            </a:r>
          </a:p>
          <a:p>
            <a:pPr lvl="1"/>
            <a:r>
              <a:rPr lang="en-US" sz="2800" dirty="0"/>
              <a:t>Azure</a:t>
            </a:r>
          </a:p>
          <a:p>
            <a:pPr lvl="1"/>
            <a:r>
              <a:rPr lang="en-US" sz="2800" dirty="0"/>
              <a:t>M365</a:t>
            </a:r>
          </a:p>
          <a:p>
            <a:pPr lvl="1"/>
            <a:r>
              <a:rPr lang="en-US" sz="2800" dirty="0"/>
              <a:t>Microsoft Dynamics 365</a:t>
            </a:r>
          </a:p>
          <a:p>
            <a:pPr lvl="1"/>
            <a:r>
              <a:rPr lang="en-US" sz="2800" dirty="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dirty="0">
                <a:cs typeface="Segoe UI"/>
              </a:rPr>
              <a:t>Marketplace online store</a:t>
            </a:r>
            <a:endParaRPr lang="en-US" dirty="0"/>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dirty="0">
                <a:cs typeface="Segoe UI"/>
              </a:rPr>
              <a:t>Apps</a:t>
            </a:r>
            <a:endParaRPr lang="en-US" dirty="0"/>
          </a:p>
          <a:p>
            <a:r>
              <a:rPr lang="en-US" dirty="0">
                <a:cs typeface="Segoe UI"/>
              </a:rPr>
              <a:t>Consulting Services</a:t>
            </a:r>
            <a:endParaRPr lang="en-US" dirty="0"/>
          </a:p>
          <a:p>
            <a:r>
              <a:rPr lang="en-US" dirty="0">
                <a:cs typeface="Segoe UI"/>
              </a:rPr>
              <a:t>Featured solutions</a:t>
            </a:r>
            <a:endParaRPr lang="en-US" dirty="0"/>
          </a:p>
          <a:p>
            <a:r>
              <a:rPr lang="en-US" dirty="0">
                <a:cs typeface="Segoe UI"/>
              </a:rPr>
              <a:t>Accessible through marketplace link:</a:t>
            </a:r>
            <a:endParaRPr lang="en-US" dirty="0"/>
          </a:p>
          <a:p>
            <a:pPr lvl="1"/>
            <a:r>
              <a:rPr lang="en-US" dirty="0">
                <a:ea typeface="+mn-lt"/>
                <a:cs typeface="+mn-lt"/>
                <a:hlinkClick r:id="rId2"/>
              </a:rPr>
              <a:t>https://azuremarketplace.microsoft.com/</a:t>
            </a:r>
            <a:endParaRPr lang="en-US">
              <a:ea typeface="+mn-lt"/>
              <a:cs typeface="+mn-lt"/>
            </a:endParaRPr>
          </a:p>
          <a:p>
            <a:r>
              <a:rPr lang="en-US" dirty="0">
                <a:cs typeface="Segoe UI"/>
              </a:rPr>
              <a:t>Accessible through Azure portal link:</a:t>
            </a:r>
          </a:p>
          <a:p>
            <a:pPr lvl="1"/>
            <a:r>
              <a:rPr lang="en-US" dirty="0">
                <a:cs typeface="Segoe UI"/>
                <a:hlinkClick r:id="rId3"/>
              </a:rPr>
              <a:t>https://portal.azure.com</a:t>
            </a:r>
            <a:endParaRPr lang="en-US" dirty="0">
              <a:cs typeface="Segoe UI"/>
            </a:endParaRPr>
          </a:p>
          <a:p>
            <a:r>
              <a:rPr lang="en-US" dirty="0">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dirty="0"/>
              <a:t>Exercise – Search for Free Apps on Windows O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421416379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endParaRPr lang="en-US" dirty="0"/>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3267879242"/>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endParaRPr lang="en-US" dirty="0"/>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15 minute break</a:t>
            </a:r>
            <a:endParaRPr lang="en-US"/>
          </a:p>
        </p:txBody>
      </p:sp>
    </p:spTree>
    <p:extLst>
      <p:ext uri="{BB962C8B-B14F-4D97-AF65-F5344CB8AC3E}">
        <p14:creationId xmlns:p14="http://schemas.microsoft.com/office/powerpoint/2010/main" val="1617807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a:t>
            </a:r>
            <a:r>
              <a:rPr lang="en-US" dirty="0">
                <a:cs typeface="Segoe UI"/>
              </a:rPr>
              <a:t>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In this workshop, you will participate in </a:t>
            </a:r>
            <a:r>
              <a:rPr lang="en-US" sz="1600" b="1" dirty="0">
                <a:solidFill>
                  <a:schemeClr val="accent1"/>
                </a:solidFill>
                <a:ea typeface="Times New Roman" panose="02020603050405020304" pitchFamily="18" charset="0"/>
              </a:rPr>
              <a:t>lecture and group activities</a:t>
            </a: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 to accomplish the following items:</a:t>
            </a:r>
            <a:r>
              <a:rPr lang="en-US" sz="1600" b="1" dirty="0">
                <a:solidFill>
                  <a:schemeClr val="accent1"/>
                </a:solidFill>
                <a:ea typeface="Times New Roman" panose="02020603050405020304" pitchFamily="18" charset="0"/>
              </a:rPr>
              <a:t> </a:t>
            </a:r>
            <a:endPar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dirty="0">
                <a:cs typeface="Arial"/>
              </a:rPr>
              <a:t>Managing purchases and setting up limits.</a:t>
            </a:r>
            <a:endParaRPr lang="en-US" dirty="0"/>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dirty="0">
                <a:cs typeface="Segoe UI"/>
              </a:rPr>
              <a:t>Published offers receive different tiers of support based on the transaction type.</a:t>
            </a:r>
            <a:endParaRPr lang="en-US" dirty="0"/>
          </a:p>
          <a:p>
            <a:endParaRPr lang="en-US" dirty="0"/>
          </a:p>
          <a:p>
            <a:pPr lvl="1"/>
            <a:r>
              <a:rPr lang="en-US" dirty="0">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ing Options</a:t>
            </a:r>
            <a:endParaRPr lang="en-US" dirty="0"/>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1" y="1435100"/>
            <a:ext cx="3987800" cy="2843855"/>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4702702" y="1435100"/>
            <a:ext cx="6906686" cy="3885009"/>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dirty="0">
                <a:cs typeface="Segoe UI"/>
              </a:rPr>
              <a:t>Simplified procurement</a:t>
            </a:r>
          </a:p>
          <a:p>
            <a:pPr lvl="1"/>
            <a:r>
              <a:rPr lang="en-US" dirty="0">
                <a:cs typeface="Segoe UI"/>
              </a:rPr>
              <a:t>Credit card</a:t>
            </a:r>
          </a:p>
          <a:p>
            <a:pPr lvl="1"/>
            <a:r>
              <a:rPr lang="en-US" dirty="0">
                <a:cs typeface="Segoe UI"/>
              </a:rPr>
              <a:t>Microsoft account</a:t>
            </a:r>
          </a:p>
          <a:p>
            <a:r>
              <a:rPr lang="en-US" dirty="0">
                <a:cs typeface="Segoe UI"/>
              </a:rPr>
              <a:t>Permission to purchase</a:t>
            </a:r>
          </a:p>
          <a:p>
            <a:pPr lvl="1"/>
            <a:r>
              <a:rPr lang="en-US" dirty="0">
                <a:cs typeface="Segoe UI"/>
              </a:rPr>
              <a:t>RBAC permissions</a:t>
            </a:r>
          </a:p>
          <a:p>
            <a:pPr lvl="1"/>
            <a:r>
              <a:rPr lang="en-US" dirty="0">
                <a:cs typeface="Segoe UI"/>
              </a:rPr>
              <a:t>Subscription owner or contributor</a:t>
            </a:r>
          </a:p>
          <a:p>
            <a:pPr marL="0" indent="0">
              <a:buNone/>
            </a:pPr>
            <a:endParaRPr lang="en-US" dirty="0"/>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dirty="0">
                <a:cs typeface="Segoe UI"/>
              </a:rPr>
              <a:t>Purchase policy management</a:t>
            </a:r>
          </a:p>
          <a:p>
            <a:pPr lvl="1">
              <a:lnSpc>
                <a:spcPct val="90000"/>
              </a:lnSpc>
            </a:pPr>
            <a:r>
              <a:rPr lang="en-US" sz="2400" dirty="0"/>
              <a:t>Azure subscription administrator manages</a:t>
            </a:r>
            <a:endParaRPr lang="en-US" sz="2400">
              <a:cs typeface="Segoe UI"/>
            </a:endParaRPr>
          </a:p>
          <a:p>
            <a:pPr lvl="1">
              <a:lnSpc>
                <a:spcPct val="90000"/>
              </a:lnSpc>
            </a:pPr>
            <a:r>
              <a:rPr lang="en-US" sz="2400" dirty="0"/>
              <a:t>Billing profiles</a:t>
            </a:r>
            <a:endParaRPr lang="en-US" sz="2400">
              <a:cs typeface="Segoe UI"/>
            </a:endParaRPr>
          </a:p>
          <a:p>
            <a:pPr lvl="1">
              <a:lnSpc>
                <a:spcPct val="90000"/>
              </a:lnSpc>
            </a:pPr>
            <a:r>
              <a:rPr lang="en-US" sz="2400" dirty="0"/>
              <a:t>Policies manage user purchases</a:t>
            </a:r>
            <a:endParaRPr lang="en-US" sz="2400">
              <a:cs typeface="Segoe UI"/>
            </a:endParaRPr>
          </a:p>
          <a:p>
            <a:pPr lvl="2">
              <a:lnSpc>
                <a:spcPct val="90000"/>
              </a:lnSpc>
            </a:pPr>
            <a:r>
              <a:rPr lang="en-US" sz="2400" dirty="0"/>
              <a:t>Azure Reservations</a:t>
            </a:r>
            <a:endParaRPr lang="en-US" sz="2400">
              <a:cs typeface="Segoe UI"/>
            </a:endParaRPr>
          </a:p>
          <a:p>
            <a:pPr lvl="2">
              <a:lnSpc>
                <a:spcPct val="90000"/>
              </a:lnSpc>
            </a:pPr>
            <a:r>
              <a:rPr lang="en-US" sz="2400" dirty="0"/>
              <a:t>Azure Marketplace</a:t>
            </a:r>
            <a:endParaRPr lang="en-US" sz="2400">
              <a:cs typeface="Segoe UI"/>
            </a:endParaRPr>
          </a:p>
          <a:p>
            <a:pPr marL="842645" lvl="3">
              <a:lnSpc>
                <a:spcPct val="90000"/>
              </a:lnSpc>
            </a:pPr>
            <a:r>
              <a:rPr lang="en-US" sz="2400" dirty="0"/>
              <a:t>Free + Paid</a:t>
            </a:r>
            <a:endParaRPr lang="en-US" sz="2400">
              <a:cs typeface="Segoe UI"/>
            </a:endParaRPr>
          </a:p>
          <a:p>
            <a:pPr marL="842645" lvl="3">
              <a:lnSpc>
                <a:spcPct val="90000"/>
              </a:lnSpc>
            </a:pPr>
            <a:r>
              <a:rPr lang="en-US" sz="2400" dirty="0"/>
              <a:t>Free</a:t>
            </a:r>
            <a:endParaRPr lang="en-US" sz="2400">
              <a:cs typeface="Segoe UI"/>
            </a:endParaRPr>
          </a:p>
          <a:p>
            <a:pPr marL="842645" lvl="3">
              <a:lnSpc>
                <a:spcPct val="90000"/>
              </a:lnSpc>
            </a:pPr>
            <a:r>
              <a:rPr lang="en-US" sz="2400" dirty="0"/>
              <a:t>No</a:t>
            </a:r>
            <a:endParaRPr lang="en-US" sz="2400">
              <a:cs typeface="Segoe UI"/>
            </a:endParaRPr>
          </a:p>
          <a:p>
            <a:pPr lvl="2">
              <a:lnSpc>
                <a:spcPct val="90000"/>
              </a:lnSpc>
            </a:pPr>
            <a:r>
              <a:rPr lang="en-US" sz="2400" dirty="0"/>
              <a:t>Labels</a:t>
            </a:r>
            <a:endParaRPr lang="en-US" sz="2400" dirty="0">
              <a:cs typeface="Segoe UI"/>
            </a:endParaRPr>
          </a:p>
          <a:p>
            <a:pPr lvl="1">
              <a:lnSpc>
                <a:spcPct val="90000"/>
              </a:lnSpc>
            </a:pPr>
            <a:endParaRPr lang="en-US"/>
          </a:p>
          <a:p>
            <a:pPr>
              <a:lnSpc>
                <a:spcPct val="90000"/>
              </a:lnSpc>
            </a:pPr>
            <a:endParaRPr lang="en-US" sz="2000" dirty="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Cost Management</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e Validation</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379844483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50002097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193913008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dirty="0">
                <a:latin typeface="Segoe UI"/>
                <a:cs typeface="Segoe UI"/>
              </a:rPr>
              <a:t>Content with documented use cases and discussion topics</a:t>
            </a:r>
            <a:endParaRPr lang="en-US" dirty="0"/>
          </a:p>
          <a:p>
            <a:pPr marL="457200" indent="-457200">
              <a:buClr>
                <a:schemeClr val="accent1"/>
              </a:buClr>
              <a:buFont typeface="Wingdings" panose="05000000000000000000" pitchFamily="2" charset="2"/>
              <a:buChar char="ü"/>
            </a:pPr>
            <a:r>
              <a:rPr lang="en-US" sz="2000" dirty="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dirty="0">
                <a:latin typeface="Segoe UI"/>
                <a:cs typeface="Segoe UI"/>
              </a:rPr>
              <a:t>Hands-on lab experience</a:t>
            </a:r>
            <a:endParaRPr lang="en-US" dirty="0"/>
          </a:p>
          <a:p>
            <a:pPr marL="457200" indent="-457200">
              <a:buClr>
                <a:schemeClr val="accent1"/>
              </a:buClr>
              <a:buFont typeface="Wingdings" panose="05000000000000000000" pitchFamily="2" charset="2"/>
              <a:buChar char="ü"/>
            </a:pPr>
            <a:endParaRPr lang="en-US" sz="20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dirty="0">
                <a:latin typeface="Segoe UI"/>
                <a:cs typeface="Segoe UI"/>
              </a:rPr>
              <a:t>Shared hands-on lab environment (aka </a:t>
            </a:r>
            <a:r>
              <a:rPr lang="en-US" sz="2000" err="1">
                <a:latin typeface="Segoe UI"/>
                <a:cs typeface="Segoe UI"/>
              </a:rPr>
              <a:t>OpenHack</a:t>
            </a:r>
            <a:r>
              <a:rPr lang="en-US" sz="2000" dirty="0">
                <a:latin typeface="Segoe UI"/>
                <a:cs typeface="Segoe UI"/>
              </a:rPr>
              <a:t>)</a:t>
            </a:r>
            <a:endParaRPr lang="en-US" dirty="0">
              <a:latin typeface="Segoe UI"/>
              <a:cs typeface="Segoe UI"/>
            </a:endParaRPr>
          </a:p>
          <a:p>
            <a:pPr marL="407670" indent="-342900">
              <a:buClr>
                <a:srgbClr val="4472C4"/>
              </a:buClr>
              <a:buSzPct val="107000"/>
              <a:buFont typeface="Segoe UI" panose="020B0502040204020203" pitchFamily="34" charset="0"/>
              <a:buChar char="×"/>
            </a:pPr>
            <a:r>
              <a:rPr lang="en-US" sz="2000" dirty="0">
                <a:latin typeface="Segoe UI"/>
                <a:cs typeface="Segoe UI"/>
              </a:rPr>
              <a:t>Lecture without interaction</a:t>
            </a:r>
            <a:endParaRPr lang="en-US" sz="2000" dirty="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dirty="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108816424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2511457"/>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r>
              <a:rPr lang="en-US" dirty="0">
                <a:cs typeface="Segoe UI"/>
              </a:rPr>
              <a:t>Lab exercise in the afternoon</a:t>
            </a: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endParaRPr lang="en-US" dirty="0"/>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1792205322"/>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265E9-9755-13A6-D1C8-681FCFAFDB05}"/>
              </a:ext>
            </a:extLst>
          </p:cNvPr>
          <p:cNvSpPr>
            <a:spLocks noGrp="1"/>
          </p:cNvSpPr>
          <p:nvPr>
            <p:ph type="title"/>
          </p:nvPr>
        </p:nvSpPr>
        <p:spPr/>
        <p:txBody>
          <a:bodyPr/>
          <a:lstStyle/>
          <a:p>
            <a:r>
              <a:rPr lang="en-US">
                <a:cs typeface="Segoe UI"/>
              </a:rPr>
              <a:t>Consumption Benefits</a:t>
            </a:r>
            <a:endParaRPr lang="en-US"/>
          </a:p>
        </p:txBody>
      </p:sp>
      <p:sp>
        <p:nvSpPr>
          <p:cNvPr id="3" name="Content Placeholder 2">
            <a:extLst>
              <a:ext uri="{FF2B5EF4-FFF2-40B4-BE49-F238E27FC236}">
                <a16:creationId xmlns:a16="http://schemas.microsoft.com/office/drawing/2014/main" id="{3BD5A719-71A7-F7FF-601F-652524A2B61E}"/>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59379714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6B115-54CA-49B3-1D91-C2B049F34ED1}"/>
              </a:ext>
            </a:extLst>
          </p:cNvPr>
          <p:cNvSpPr>
            <a:spLocks noGrp="1"/>
          </p:cNvSpPr>
          <p:nvPr>
            <p:ph type="title"/>
          </p:nvPr>
        </p:nvSpPr>
        <p:spPr/>
        <p:txBody>
          <a:bodyPr/>
          <a:lstStyle/>
          <a:p>
            <a:r>
              <a:rPr lang="en-US">
                <a:cs typeface="Segoe UI"/>
              </a:rPr>
              <a:t>Subscription Transfers</a:t>
            </a:r>
            <a:endParaRPr lang="en-US"/>
          </a:p>
        </p:txBody>
      </p:sp>
      <p:sp>
        <p:nvSpPr>
          <p:cNvPr id="3" name="Content Placeholder 2">
            <a:extLst>
              <a:ext uri="{FF2B5EF4-FFF2-40B4-BE49-F238E27FC236}">
                <a16:creationId xmlns:a16="http://schemas.microsoft.com/office/drawing/2014/main" id="{201E1365-93FF-B6D4-E7D9-75C95808C054}"/>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08328312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45 minute</a:t>
            </a:r>
            <a:r>
              <a:rPr lang="en-US" dirty="0">
                <a:cs typeface="Segoe UI"/>
              </a:rPr>
              <a:t> break</a:t>
            </a:r>
            <a:endParaRPr lang="en-US" dirty="0"/>
          </a:p>
        </p:txBody>
      </p:sp>
    </p:spTree>
    <p:extLst>
      <p:ext uri="{BB962C8B-B14F-4D97-AF65-F5344CB8AC3E}">
        <p14:creationId xmlns:p14="http://schemas.microsoft.com/office/powerpoint/2010/main" val="118928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A5204-DC92-084D-2C0F-8862EE432163}"/>
              </a:ext>
            </a:extLst>
          </p:cNvPr>
          <p:cNvSpPr>
            <a:spLocks noGrp="1"/>
          </p:cNvSpPr>
          <p:nvPr>
            <p:ph type="title"/>
          </p:nvPr>
        </p:nvSpPr>
        <p:spPr>
          <a:xfrm>
            <a:off x="585216" y="2930402"/>
            <a:ext cx="9144000" cy="997196"/>
          </a:xfrm>
        </p:spPr>
        <p:txBody>
          <a:bodyPr/>
          <a:lstStyle/>
          <a:p>
            <a:r>
              <a:rPr lang="en-US">
                <a:cs typeface="Segoe UI"/>
              </a:rPr>
              <a:t>Afternoon:</a:t>
            </a:r>
            <a:br>
              <a:rPr lang="en-US">
                <a:cs typeface="Segoe UI"/>
              </a:rPr>
            </a:br>
            <a:r>
              <a:rPr lang="en-US">
                <a:cs typeface="Segoe UI"/>
              </a:rPr>
              <a:t>Hands-on Labs</a:t>
            </a:r>
            <a:endParaRPr lang="en-US"/>
          </a:p>
        </p:txBody>
      </p:sp>
    </p:spTree>
    <p:extLst>
      <p:ext uri="{BB962C8B-B14F-4D97-AF65-F5344CB8AC3E}">
        <p14:creationId xmlns:p14="http://schemas.microsoft.com/office/powerpoint/2010/main" val="81838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 </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Labs – Deployment of resources and SaaS offerings through the Marketplace</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nvGraphicFramePr>
        <p:xfrm>
          <a:off x="4027715" y="3242233"/>
          <a:ext cx="8097610" cy="3639312"/>
        </p:xfrm>
        <a:graphic>
          <a:graphicData uri="http://schemas.openxmlformats.org/drawingml/2006/table">
            <a:tbl>
              <a:tblPr/>
              <a:tblGrid>
                <a:gridCol w="1909446">
                  <a:extLst>
                    <a:ext uri="{9D8B030D-6E8A-4147-A177-3AD203B41FA5}">
                      <a16:colId xmlns:a16="http://schemas.microsoft.com/office/drawing/2014/main" val="1070106141"/>
                    </a:ext>
                  </a:extLst>
                </a:gridCol>
                <a:gridCol w="2822861">
                  <a:extLst>
                    <a:ext uri="{9D8B030D-6E8A-4147-A177-3AD203B41FA5}">
                      <a16:colId xmlns:a16="http://schemas.microsoft.com/office/drawing/2014/main" val="1928585651"/>
                    </a:ext>
                  </a:extLst>
                </a:gridCol>
                <a:gridCol w="3365303">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Integrating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a:solidFill>
                            <a:schemeClr val="tx1"/>
                          </a:solidFill>
                          <a:latin typeface="Segoe UI"/>
                        </a:rPr>
                        <a:t>10:30</a:t>
                      </a:r>
                      <a:endParaRPr lang="en-US" sz="1600" b="0" i="0" u="none" strike="noStrike" noProof="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rivate offers overview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a:t>
                      </a:r>
                      <a:endParaRPr lang="en-US"/>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Private Marketplace overview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3: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0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solidFill>
                            <a:schemeClr val="tx2"/>
                          </a:solidFill>
                        </a:rPr>
                        <a:t>Lab - Setting up and using a privat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600" dirty="0">
                          <a:solidFill>
                            <a:schemeClr val="tx1"/>
                          </a:solidFill>
                        </a:rPr>
                        <a:t> 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057151"/>
                  </a:ext>
                </a:extLst>
              </a:tr>
            </a:tbl>
          </a:graphicData>
        </a:graphic>
      </p:graphicFrame>
    </p:spTree>
    <p:custDataLst>
      <p:tags r:id="rId1"/>
    </p:custDataLst>
    <p:extLst>
      <p:ext uri="{BB962C8B-B14F-4D97-AF65-F5344CB8AC3E}">
        <p14:creationId xmlns:p14="http://schemas.microsoft.com/office/powerpoint/2010/main" val="2050614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6974-9FE8-E329-D3B0-306E220289A4}"/>
              </a:ext>
            </a:extLst>
          </p:cNvPr>
          <p:cNvSpPr>
            <a:spLocks noGrp="1"/>
          </p:cNvSpPr>
          <p:nvPr>
            <p:ph type="title"/>
          </p:nvPr>
        </p:nvSpPr>
        <p:spPr/>
        <p:txBody>
          <a:bodyPr/>
          <a:lstStyle/>
          <a:p>
            <a:r>
              <a:rPr lang="en-US">
                <a:cs typeface="Segoe UI"/>
              </a:rPr>
              <a:t>Labs</a:t>
            </a:r>
            <a:endParaRPr lang="en-US"/>
          </a:p>
        </p:txBody>
      </p:sp>
      <p:sp>
        <p:nvSpPr>
          <p:cNvPr id="3" name="Content Placeholder 2">
            <a:extLst>
              <a:ext uri="{FF2B5EF4-FFF2-40B4-BE49-F238E27FC236}">
                <a16:creationId xmlns:a16="http://schemas.microsoft.com/office/drawing/2014/main" id="{23A1A54E-6325-B210-02CE-A6FEE92CB668}"/>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Purchase and Deploy an Azure Application</a:t>
            </a:r>
          </a:p>
          <a:p>
            <a:r>
              <a:rPr lang="en-US" dirty="0">
                <a:cs typeface="Segoe UI"/>
              </a:rPr>
              <a:t>Deploying Azure Resources</a:t>
            </a:r>
            <a:endParaRPr lang="en-US" dirty="0"/>
          </a:p>
          <a:p>
            <a:r>
              <a:rPr lang="en-US" dirty="0">
                <a:cs typeface="Segoe UI"/>
              </a:rPr>
              <a:t>Deploying SaaS offering</a:t>
            </a:r>
          </a:p>
          <a:p>
            <a:r>
              <a:rPr lang="en-US" dirty="0">
                <a:cs typeface="Segoe UI"/>
              </a:rPr>
              <a:t>Deploying third-party resources</a:t>
            </a:r>
            <a:endParaRPr lang="en-US" dirty="0"/>
          </a:p>
        </p:txBody>
      </p:sp>
    </p:spTree>
    <p:extLst>
      <p:ext uri="{BB962C8B-B14F-4D97-AF65-F5344CB8AC3E}">
        <p14:creationId xmlns:p14="http://schemas.microsoft.com/office/powerpoint/2010/main" val="376318981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1465016"/>
          </a:xfrm>
        </p:spPr>
        <p:txBody>
          <a:bodyPr vert="horz" wrap="square" lIns="0" tIns="0" rIns="0" bIns="0" rtlCol="0" anchor="t">
            <a:spAutoFit/>
          </a:bodyPr>
          <a:lstStyle/>
          <a:p>
            <a:r>
              <a:rPr lang="en-US" dirty="0">
                <a:cs typeface="Segoe UI"/>
              </a:rPr>
              <a:t>Lab exercise</a:t>
            </a:r>
            <a:endParaRPr lang="en-US" dirty="0"/>
          </a:p>
          <a:p>
            <a:r>
              <a:rPr lang="en-US" dirty="0">
                <a:cs typeface="Segoe UI"/>
              </a:rPr>
              <a:t>Lab to be created in markdown</a:t>
            </a:r>
          </a:p>
          <a:p>
            <a:endParaRPr lang="en-US" dirty="0"/>
          </a:p>
        </p:txBody>
      </p:sp>
    </p:spTree>
    <p:extLst>
      <p:ext uri="{BB962C8B-B14F-4D97-AF65-F5344CB8AC3E}">
        <p14:creationId xmlns:p14="http://schemas.microsoft.com/office/powerpoint/2010/main" val="354332048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 </a:t>
            </a:r>
          </a:p>
          <a:p>
            <a:r>
              <a:rPr lang="en-US" dirty="0">
                <a:cs typeface="Segoe UI"/>
              </a:rPr>
              <a:t>Lab to be created in markdown</a:t>
            </a:r>
            <a:endParaRPr lang="en-US" dirty="0"/>
          </a:p>
        </p:txBody>
      </p:sp>
    </p:spTree>
    <p:extLst>
      <p:ext uri="{BB962C8B-B14F-4D97-AF65-F5344CB8AC3E}">
        <p14:creationId xmlns:p14="http://schemas.microsoft.com/office/powerpoint/2010/main" val="163747295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Lab exercise </a:t>
            </a:r>
            <a:endParaRPr lang="en-US"/>
          </a:p>
          <a:p>
            <a:r>
              <a:rPr lang="en-US" dirty="0">
                <a:cs typeface="Segoe UI"/>
              </a:rPr>
              <a:t>Lab to be created in markdown</a:t>
            </a:r>
          </a:p>
          <a:p>
            <a:endParaRPr lang="en-US" dirty="0"/>
          </a:p>
          <a:p>
            <a:endParaRPr lang="en-US" dirty="0"/>
          </a:p>
        </p:txBody>
      </p:sp>
    </p:spTree>
    <p:extLst>
      <p:ext uri="{BB962C8B-B14F-4D97-AF65-F5344CB8AC3E}">
        <p14:creationId xmlns:p14="http://schemas.microsoft.com/office/powerpoint/2010/main" val="174297470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j-lt"/>
                <a:ea typeface="+mn-ea"/>
                <a:cs typeface="+mn-cs"/>
              </a:rPr>
              <a:t>What you learned:</a:t>
            </a:r>
            <a:endParaRPr lang="en-US" sz="2400" b="1" i="0" u="none" strike="noStrike" kern="1200" cap="none" spc="0" normalizeH="0" baseline="0" noProof="0" dirty="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296107"/>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a:t>
              </a:r>
              <a:r>
                <a:rPr lang="en-US" sz="1800">
                  <a:solidFill>
                    <a:schemeClr val="tx1"/>
                  </a:solidFill>
                  <a:cs typeface="Segoe UI"/>
                </a:rPr>
                <a:t>the Marketplace</a:t>
              </a:r>
              <a:r>
                <a:rPr lang="en-US" sz="1800" dirty="0">
                  <a:solidFill>
                    <a:schemeClr val="tx1"/>
                  </a:solidFill>
                  <a:cs typeface="Segoe UI"/>
                </a:rPr>
                <a:t>.</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1360225442"/>
              </p:ext>
            </p:extLst>
          </p:nvPr>
        </p:nvGraphicFramePr>
        <p:xfrm>
          <a:off x="4027714" y="1474863"/>
          <a:ext cx="8097611" cy="4175760"/>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dirty="0">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dirty="0">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Break</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5509246"/>
                  </a:ext>
                </a:extLst>
              </a:tr>
              <a:tr h="0">
                <a:tc>
                  <a:txBody>
                    <a:bodyPr/>
                    <a:lstStyle/>
                    <a:p>
                      <a:pPr algn="l" fontAlgn="b"/>
                      <a:r>
                        <a:rPr lang="en-US" sz="1600" b="1" dirty="0">
                          <a:solidFill>
                            <a:schemeClr val="tx1"/>
                          </a:solidFill>
                        </a:rPr>
                        <a:t>11:1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4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 </a:t>
                      </a:r>
                      <a:endParaRPr lang="en-US" sz="1600" dirty="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3:2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Lab – Deployment of resources and</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4:5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rgbClr val="E6E6E6"/>
                          </a:solidFill>
                          <a:latin typeface="Segoe UI"/>
                        </a:rPr>
                        <a:t>Break</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64209"/>
                  </a:ext>
                </a:extLst>
              </a:tr>
              <a:tr h="0">
                <a:tc>
                  <a:txBody>
                    <a:bodyPr/>
                    <a:lstStyle/>
                    <a:p>
                      <a:pPr algn="l" fontAlgn="b"/>
                      <a:r>
                        <a:rPr lang="en-US" sz="1600" b="1" dirty="0">
                          <a:solidFill>
                            <a:schemeClr val="tx1"/>
                          </a:solidFill>
                        </a:rPr>
                        <a:t>15:2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8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rgbClr val="E6E6E6"/>
                          </a:solidFill>
                          <a:latin typeface="Segoe UI"/>
                        </a:rPr>
                        <a:t>Lab - </a:t>
                      </a:r>
                      <a:r>
                        <a:rPr lang="en-US" sz="1600" b="0" i="0" u="none" strike="noStrike" noProof="0" dirty="0">
                          <a:solidFill>
                            <a:schemeClr val="tx2"/>
                          </a:solidFill>
                          <a:latin typeface="+mn-lt"/>
                        </a:rPr>
                        <a:t>SaaS offerings through th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3268211"/>
                  </a:ext>
                </a:extLst>
              </a:tr>
              <a:tr h="0">
                <a:tc>
                  <a:txBody>
                    <a:bodyPr/>
                    <a:lstStyle/>
                    <a:p>
                      <a:pPr algn="l" fontAlgn="b"/>
                      <a:r>
                        <a:rPr lang="en-US" sz="1600" b="1" dirty="0">
                          <a:solidFill>
                            <a:schemeClr val="tx1"/>
                          </a:solidFill>
                        </a:rPr>
                        <a:t>16: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5 </a:t>
                      </a:r>
                      <a:r>
                        <a:rPr lang="en-US" sz="1600" dirty="0">
                          <a:solidFill>
                            <a:schemeClr val="tx1"/>
                          </a:solidFill>
                        </a:rPr>
                        <a:t>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Day One: Microsoft Marketplace overview and purchasing</a:t>
            </a:r>
            <a:endParaRPr lang="en-US" altLang="zh-CN"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dirty="0"/>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Commercial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Commercial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olution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Props1.xml><?xml version="1.0" encoding="utf-8"?>
<ds:datastoreItem xmlns:ds="http://schemas.openxmlformats.org/officeDocument/2006/customXml" ds:itemID="{C5DC1468-2D5A-4AF4-B6A1-FA3F00E879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9ab3cf-5ffc-4e23-9951-e59f1d4d2772"/>
    <ds:schemaRef ds:uri="df7f103e-597c-493b-bc31-914106b90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EDCB3B52-9508-4A63-AFCC-05E7630C15CA}">
  <ds:schemaRefs>
    <ds:schemaRef ds:uri="http://schemas.microsoft.com/office/2006/metadata/properties"/>
    <ds:schemaRef ds:uri="http://schemas.microsoft.com/office/infopath/2007/PartnerControls"/>
    <ds:schemaRef ds:uri="ec9ab3cf-5ffc-4e23-9951-e59f1d4d2772"/>
    <ds:schemaRef ds:uri="df7f103e-597c-493b-bc31-914106b908e0"/>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61</TotalTime>
  <Words>5090</Words>
  <Application>Microsoft Office PowerPoint</Application>
  <PresentationFormat>Widescreen</PresentationFormat>
  <Paragraphs>558</Paragraphs>
  <Slides>44</Slides>
  <Notes>25</Notes>
  <HiddenSlides>3</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5" baseType="lpstr">
      <vt:lpstr>Arial</vt:lpstr>
      <vt:lpstr>Calibri</vt:lpstr>
      <vt:lpstr>Consolas</vt:lpstr>
      <vt:lpstr>Segoe UI</vt:lpstr>
      <vt:lpstr>Segoe UI </vt:lpstr>
      <vt:lpstr>Segoe UI Light</vt:lpstr>
      <vt:lpstr>Segoe UI Semibold</vt:lpstr>
      <vt:lpstr>Times New Roman</vt:lpstr>
      <vt:lpstr>Wingdings</vt:lpstr>
      <vt:lpstr>1_Black Template</vt:lpstr>
      <vt:lpstr>think-cell Slide</vt:lpstr>
      <vt:lpstr>Microsoft Commercial Marketplace</vt:lpstr>
      <vt:lpstr>Learning objectives</vt:lpstr>
      <vt:lpstr>What to expect</vt:lpstr>
      <vt:lpstr>PowerPoint Presentation</vt:lpstr>
      <vt:lpstr>PowerPoint Presentation</vt:lpstr>
      <vt:lpstr>PowerPoint Presentation</vt:lpstr>
      <vt:lpstr>Introduction</vt:lpstr>
      <vt:lpstr>Introduction to Marketplace (60 minutes)</vt:lpstr>
      <vt:lpstr>What is the Microsoft Commercial Marketplace?</vt:lpstr>
      <vt:lpstr>Who uses Marketplace?</vt:lpstr>
      <vt:lpstr>AppSource vs. Marketplace</vt:lpstr>
      <vt:lpstr>Marketplace online store</vt:lpstr>
      <vt:lpstr>Exercise – Search for Free Apps on Windows OS</vt:lpstr>
      <vt:lpstr>Exercise – Search for Paid Apps on Windows</vt:lpstr>
      <vt:lpstr>Exercise – Search for Free Consulting Services</vt:lpstr>
      <vt:lpstr>Exercise – Search for Paid Consulting Services</vt:lpstr>
      <vt:lpstr>15 minute break</vt:lpstr>
      <vt:lpstr>Creating Offers and Purchasing in Marketplace</vt:lpstr>
      <vt:lpstr>How does purchasing work in Azure Marketplace?</vt:lpstr>
      <vt:lpstr>Marketplace Rewards</vt:lpstr>
      <vt:lpstr>Purchasing Options</vt:lpstr>
      <vt:lpstr>Drawing Customers to Your Listing</vt:lpstr>
      <vt:lpstr>Azure Marketplace Purchasing</vt:lpstr>
      <vt:lpstr>Purchase Policy Management</vt:lpstr>
      <vt:lpstr>Cost Management</vt:lpstr>
      <vt:lpstr>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Consumption Benefits</vt:lpstr>
      <vt:lpstr>Subscription Transfers</vt:lpstr>
      <vt:lpstr>45 minute break</vt:lpstr>
      <vt:lpstr>Afternoon: Hands-on Labs</vt:lpstr>
      <vt:lpstr>Labs</vt:lpstr>
      <vt:lpstr>Purchase and Deploy an Azure Application</vt:lpstr>
      <vt:lpstr>Purchase and Deploy an Azure Virtual Machine</vt:lpstr>
      <vt:lpstr>Purchase and Subscribe to a SaaS offer</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787</cp:revision>
  <dcterms:created xsi:type="dcterms:W3CDTF">2023-04-14T00:23:05Z</dcterms:created>
  <dcterms:modified xsi:type="dcterms:W3CDTF">2023-11-14T15:5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